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2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82-4F7F-97AD-3DE2F42FF2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67307327"/>
        <c:axId val="567310207"/>
      </c:barChart>
      <c:catAx>
        <c:axId val="56730732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7310207"/>
        <c:crosses val="autoZero"/>
        <c:auto val="1"/>
        <c:lblAlgn val="ctr"/>
        <c:lblOffset val="100"/>
        <c:noMultiLvlLbl val="0"/>
      </c:catAx>
      <c:valAx>
        <c:axId val="5673102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73073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AE4F09-D7A5-D7C7-1595-6F4C3C6DC8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1AA5EC0-F741-61C3-B9C3-8DC0767C5D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AA5EC0-F741-61C3-B9C3-8DC0767C5D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8AF825AD-810F-E47F-30D3-C17A6F8F37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Bar Chart / Tex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E6A635A-E122-2528-E2F5-AB6174568A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2DD698A8-C829-24A9-B09B-DA54DFD300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DCA497B-79EE-C372-852C-29C754BBF81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6" name="Chart Placeholder 5">
            <a:extLst>
              <a:ext uri="{FF2B5EF4-FFF2-40B4-BE49-F238E27FC236}">
                <a16:creationId xmlns:a16="http://schemas.microsoft.com/office/drawing/2014/main" id="{0161B24A-EA8B-0D4E-E9A7-085E98840746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7015162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77FF293-707D-6540-C20E-6365C5137A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Vivamus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senectus et netus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E8306615-0F91-3E94-81FF-8209B35FB04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97467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6</TotalTime>
  <Words>85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Bar Chart / 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70</cp:revision>
  <dcterms:created xsi:type="dcterms:W3CDTF">2025-07-09T10:57:17Z</dcterms:created>
  <dcterms:modified xsi:type="dcterms:W3CDTF">2025-10-22T09:50:54Z</dcterms:modified>
  <cp:category/>
</cp:coreProperties>
</file>